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28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28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25"/>
    <a:srgbClr val="FFFFFF"/>
    <a:srgbClr val="576B8A"/>
    <a:srgbClr val="5A6F90"/>
    <a:srgbClr val="63789B"/>
    <a:srgbClr val="A1ACD1"/>
    <a:srgbClr val="FEFE50"/>
    <a:srgbClr val="FC9728"/>
    <a:srgbClr val="FDE88D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54"/>
      </p:cViewPr>
      <p:guideLst>
        <p:guide orient="horz" pos="2160"/>
        <p:guide pos="3817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3.%20Marzo%202018\File%20di%20Lavoro\09_Grafici%20Video%20e%20Modalit&#224;%20di%20Vendi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4.%20Aprile%202018\File%20di%20Lavoro\Grafico%20Settore%20merceolog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401283440"/>
        <c:axId val="401283832"/>
      </c:barChart>
      <c:catAx>
        <c:axId val="401283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401283832"/>
        <c:crosses val="autoZero"/>
        <c:auto val="1"/>
        <c:lblAlgn val="ctr"/>
        <c:lblOffset val="100"/>
        <c:noMultiLvlLbl val="0"/>
      </c:catAx>
      <c:valAx>
        <c:axId val="401283832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401283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99272318051194319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30611629422406"/>
          <c:y val="4.732507732246885E-2"/>
          <c:w val="0.84038822185739515"/>
          <c:h val="0.7759946340069807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5347876231235589</c:v>
                </c:pt>
                <c:pt idx="1">
                  <c:v>0</c:v>
                </c:pt>
                <c:pt idx="2" formatCode="0%">
                  <c:v>0.71302479218482884</c:v>
                </c:pt>
              </c:numCache>
            </c:numRef>
          </c:val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6604274615628895</c:v>
                </c:pt>
                <c:pt idx="1">
                  <c:v>0</c:v>
                </c:pt>
                <c:pt idx="2" formatCode="0%">
                  <c:v>0.2032895365574531</c:v>
                </c:pt>
              </c:numCache>
            </c:numRef>
          </c:val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8.0478491531355265E-2</c:v>
                </c:pt>
                <c:pt idx="1">
                  <c:v>0</c:v>
                </c:pt>
                <c:pt idx="2" formatCode="0%">
                  <c:v>8.368567125771801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401284616"/>
        <c:axId val="401285008"/>
      </c:barChart>
      <c:catAx>
        <c:axId val="401284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401285008"/>
        <c:crosses val="autoZero"/>
        <c:auto val="1"/>
        <c:lblAlgn val="ctr"/>
        <c:lblOffset val="100"/>
        <c:tickLblSkip val="1"/>
        <c:noMultiLvlLbl val="1"/>
      </c:catAx>
      <c:valAx>
        <c:axId val="401285008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40128461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401285792"/>
        <c:axId val="401286184"/>
      </c:barChart>
      <c:catAx>
        <c:axId val="40128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401286184"/>
        <c:crosses val="autoZero"/>
        <c:auto val="1"/>
        <c:lblAlgn val="ctr"/>
        <c:lblOffset val="100"/>
        <c:noMultiLvlLbl val="0"/>
      </c:catAx>
      <c:valAx>
        <c:axId val="401286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401285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89057252932096831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97346860610334"/>
          <c:y val="2.6740645219249896E-2"/>
          <c:w val="0.81577347219437846"/>
          <c:h val="0.76824774143316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2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2734147489437564</c:v>
                </c:pt>
                <c:pt idx="1">
                  <c:v>0</c:v>
                </c:pt>
                <c:pt idx="2" formatCode="0%">
                  <c:v>0.18642043529473692</c:v>
                </c:pt>
              </c:numCache>
            </c:numRef>
          </c:val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9909875508605268E-2</c:v>
                </c:pt>
                <c:pt idx="1">
                  <c:v>0</c:v>
                </c:pt>
                <c:pt idx="2" formatCode="0%">
                  <c:v>5.5174625235012327E-2</c:v>
                </c:pt>
              </c:numCache>
            </c:numRef>
          </c:val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4274864959701925</c:v>
                </c:pt>
                <c:pt idx="1">
                  <c:v>0</c:v>
                </c:pt>
                <c:pt idx="2" formatCode="0%">
                  <c:v>0.7584049394702507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401286968"/>
        <c:axId val="401814408"/>
      </c:barChart>
      <c:catAx>
        <c:axId val="401286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401814408"/>
        <c:crosses val="autoZero"/>
        <c:auto val="1"/>
        <c:lblAlgn val="ctr"/>
        <c:lblOffset val="100"/>
        <c:tickLblSkip val="1"/>
        <c:noMultiLvlLbl val="1"/>
      </c:catAx>
      <c:valAx>
        <c:axId val="401814408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40128696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2822849828669398E-3"/>
          <c:y val="0.89106988783434005"/>
          <c:w val="0.99871771501713302"/>
          <c:h val="8.5160753583728557E-2"/>
        </c:manualLayout>
      </c:layout>
      <c:overlay val="0"/>
      <c:txPr>
        <a:bodyPr/>
        <a:lstStyle/>
        <a:p>
          <a:pPr>
            <a:defRPr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5114935255423667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Foglio1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Foglio1!$A$3:$F$29</c:f>
              <c:multiLvlStrCache>
                <c:ptCount val="27"/>
                <c:lvl>
                  <c:pt idx="0">
                    <c:v>Automobili</c:v>
                  </c:pt>
                  <c:pt idx="1">
                    <c:v>Varie</c:v>
                  </c:pt>
                  <c:pt idx="2">
                    <c:v>Media/Editoria</c:v>
                  </c:pt>
                  <c:pt idx="3">
                    <c:v>Alimentari</c:v>
                  </c:pt>
                  <c:pt idx="4">
                    <c:v>Abbigliamento</c:v>
                  </c:pt>
                  <c:pt idx="5">
                    <c:v>Servizi Professionali</c:v>
                  </c:pt>
                  <c:pt idx="6">
                    <c:v>Finanza/Assicurazioni</c:v>
                  </c:pt>
                  <c:pt idx="7">
                    <c:v>Telecomunicazioni</c:v>
                  </c:pt>
                  <c:pt idx="8">
                    <c:v>Distribuzione</c:v>
                  </c:pt>
                  <c:pt idx="9">
                    <c:v>Cura persona</c:v>
                  </c:pt>
                  <c:pt idx="10">
                    <c:v>Locale</c:v>
                  </c:pt>
                  <c:pt idx="11">
                    <c:v>Farmaceutici/Sanitari</c:v>
                  </c:pt>
                  <c:pt idx="12">
                    <c:v>Turismo/Viaggi</c:v>
                  </c:pt>
                  <c:pt idx="13">
                    <c:v>Tempo libero</c:v>
                  </c:pt>
                  <c:pt idx="14">
                    <c:v>Informatica/Fotografia</c:v>
                  </c:pt>
                  <c:pt idx="15">
                    <c:v>Enti/Istituzioni</c:v>
                  </c:pt>
                  <c:pt idx="16">
                    <c:v>Industria/Edilizia/Attività</c:v>
                  </c:pt>
                  <c:pt idx="17">
                    <c:v>Abitazione</c:v>
                  </c:pt>
                  <c:pt idx="18">
                    <c:v>Bevande/Alcoolici</c:v>
                  </c:pt>
                  <c:pt idx="19">
                    <c:v>Oggetti personali</c:v>
                  </c:pt>
                  <c:pt idx="20">
                    <c:v>Gestione casa</c:v>
                  </c:pt>
                  <c:pt idx="21">
                    <c:v>Toiletries</c:v>
                  </c:pt>
                  <c:pt idx="22">
                    <c:v>Elettrodomestici</c:v>
                  </c:pt>
                  <c:pt idx="23">
                    <c:v>Moto/Veicoli</c:v>
                  </c:pt>
                  <c:pt idx="24">
                    <c:v>Di Servizio</c:v>
                  </c:pt>
                  <c:pt idx="25">
                    <c:v>Giochi/Articoli scolastici</c:v>
                  </c:pt>
                  <c:pt idx="26">
                    <c:v>Rubricata</c:v>
                  </c:pt>
                </c:lvl>
                <c:lvl>
                  <c:pt idx="0">
                    <c:v>21%</c:v>
                  </c:pt>
                  <c:pt idx="1">
                    <c:v>24%</c:v>
                  </c:pt>
                  <c:pt idx="2">
                    <c:v>1%</c:v>
                  </c:pt>
                  <c:pt idx="3">
                    <c:v>-5%</c:v>
                  </c:pt>
                  <c:pt idx="4">
                    <c:v>-28%</c:v>
                  </c:pt>
                  <c:pt idx="5">
                    <c:v>-4%</c:v>
                  </c:pt>
                  <c:pt idx="6">
                    <c:v>-37%</c:v>
                  </c:pt>
                  <c:pt idx="7">
                    <c:v>-35%</c:v>
                  </c:pt>
                  <c:pt idx="8">
                    <c:v>-9%</c:v>
                  </c:pt>
                  <c:pt idx="9">
                    <c:v>6%</c:v>
                  </c:pt>
                  <c:pt idx="10">
                    <c:v>69%</c:v>
                  </c:pt>
                  <c:pt idx="11">
                    <c:v>-29%</c:v>
                  </c:pt>
                  <c:pt idx="12">
                    <c:v>-45%</c:v>
                  </c:pt>
                  <c:pt idx="13">
                    <c:v>12%</c:v>
                  </c:pt>
                  <c:pt idx="14">
                    <c:v>-15%</c:v>
                  </c:pt>
                  <c:pt idx="15">
                    <c:v>46%</c:v>
                  </c:pt>
                  <c:pt idx="16">
                    <c:v>-42%</c:v>
                  </c:pt>
                  <c:pt idx="17">
                    <c:v>-30%</c:v>
                  </c:pt>
                  <c:pt idx="18">
                    <c:v>20%</c:v>
                  </c:pt>
                  <c:pt idx="19">
                    <c:v>-19%</c:v>
                  </c:pt>
                  <c:pt idx="20">
                    <c:v>-27%</c:v>
                  </c:pt>
                  <c:pt idx="21">
                    <c:v>-17%</c:v>
                  </c:pt>
                  <c:pt idx="22">
                    <c:v>4%</c:v>
                  </c:pt>
                  <c:pt idx="23">
                    <c:v>51%</c:v>
                  </c:pt>
                  <c:pt idx="24">
                    <c:v>20%</c:v>
                  </c:pt>
                  <c:pt idx="25">
                    <c:v>190%</c:v>
                  </c:pt>
                  <c:pt idx="26">
                    <c:v>-53%</c:v>
                  </c:pt>
                </c:lvl>
                <c:lvl>
                  <c:pt idx="0">
                    <c:v>6%</c:v>
                  </c:pt>
                  <c:pt idx="1">
                    <c:v>1%</c:v>
                  </c:pt>
                  <c:pt idx="2">
                    <c:v>7%</c:v>
                  </c:pt>
                  <c:pt idx="3">
                    <c:v>18%</c:v>
                  </c:pt>
                  <c:pt idx="4">
                    <c:v>1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6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2%</c:v>
                  </c:pt>
                  <c:pt idx="21">
                    <c:v>1%</c:v>
                  </c:pt>
                  <c:pt idx="22">
                    <c:v>2%</c:v>
                  </c:pt>
                  <c:pt idx="23">
                    <c:v>14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0%</c:v>
                  </c:pt>
                </c:lvl>
                <c:lvl>
                  <c:pt idx="0">
                    <c:v>5%</c:v>
                  </c:pt>
                  <c:pt idx="1">
                    <c:v>2%</c:v>
                  </c:pt>
                  <c:pt idx="2">
                    <c:v>6%</c:v>
                  </c:pt>
                  <c:pt idx="3">
                    <c:v>20%</c:v>
                  </c:pt>
                  <c:pt idx="4">
                    <c:v>2%</c:v>
                  </c:pt>
                  <c:pt idx="5">
                    <c:v>4%</c:v>
                  </c:pt>
                  <c:pt idx="6">
                    <c:v>5%</c:v>
                  </c:pt>
                  <c:pt idx="7">
                    <c:v>1%</c:v>
                  </c:pt>
                  <c:pt idx="8">
                    <c:v>2%</c:v>
                  </c:pt>
                  <c:pt idx="9">
                    <c:v>3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1%</c:v>
                  </c:pt>
                  <c:pt idx="24">
                    <c:v>2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Foglio1!$H$3:$H$29</c:f>
              <c:numCache>
                <c:formatCode>0.0%</c:formatCode>
                <c:ptCount val="27"/>
                <c:pt idx="0">
                  <c:v>0.18185040940053118</c:v>
                </c:pt>
                <c:pt idx="1">
                  <c:v>0.13948316476141837</c:v>
                </c:pt>
                <c:pt idx="2">
                  <c:v>9.0209488869089291E-2</c:v>
                </c:pt>
                <c:pt idx="3">
                  <c:v>6.5707051655923179E-2</c:v>
                </c:pt>
                <c:pt idx="4">
                  <c:v>5.9934101191545928E-2</c:v>
                </c:pt>
                <c:pt idx="5">
                  <c:v>5.8817958852016745E-2</c:v>
                </c:pt>
                <c:pt idx="6">
                  <c:v>5.7362694939348757E-2</c:v>
                </c:pt>
                <c:pt idx="7">
                  <c:v>4.817711608997171E-2</c:v>
                </c:pt>
                <c:pt idx="8">
                  <c:v>4.1526660146287808E-2</c:v>
                </c:pt>
                <c:pt idx="9">
                  <c:v>3.443632643382917E-2</c:v>
                </c:pt>
                <c:pt idx="10">
                  <c:v>2.7732294297440504E-2</c:v>
                </c:pt>
                <c:pt idx="11">
                  <c:v>2.3978211202560683E-2</c:v>
                </c:pt>
                <c:pt idx="12">
                  <c:v>2.3816296866143258E-2</c:v>
                </c:pt>
                <c:pt idx="13">
                  <c:v>2.3028668457182665E-2</c:v>
                </c:pt>
                <c:pt idx="14">
                  <c:v>2.0003852538486563E-2</c:v>
                </c:pt>
                <c:pt idx="15">
                  <c:v>1.6512336127587089E-2</c:v>
                </c:pt>
                <c:pt idx="16">
                  <c:v>1.6077504920878002E-2</c:v>
                </c:pt>
                <c:pt idx="17">
                  <c:v>1.3329428454702988E-2</c:v>
                </c:pt>
                <c:pt idx="18">
                  <c:v>1.1114100665063412E-2</c:v>
                </c:pt>
                <c:pt idx="19">
                  <c:v>1.0670046929670565E-2</c:v>
                </c:pt>
                <c:pt idx="20">
                  <c:v>9.7239895038622026E-3</c:v>
                </c:pt>
                <c:pt idx="21">
                  <c:v>9.1184178393151731E-3</c:v>
                </c:pt>
                <c:pt idx="22">
                  <c:v>7.6419755602323237E-3</c:v>
                </c:pt>
                <c:pt idx="23">
                  <c:v>3.764831811170751E-3</c:v>
                </c:pt>
                <c:pt idx="24">
                  <c:v>3.2177916927139021E-3</c:v>
                </c:pt>
                <c:pt idx="25">
                  <c:v>2.6216861885441137E-3</c:v>
                </c:pt>
                <c:pt idx="26">
                  <c:v>1.4359460448356269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01815192"/>
        <c:axId val="401815584"/>
      </c:barChart>
      <c:lineChart>
        <c:grouping val="standard"/>
        <c:varyColors val="0"/>
        <c:ser>
          <c:idx val="0"/>
          <c:order val="0"/>
          <c:tx>
            <c:strRef>
              <c:f>Foglio1!$G$2</c:f>
              <c:strCache>
                <c:ptCount val="1"/>
                <c:pt idx="0">
                  <c:v>2017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Foglio1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Alimentari</c:v>
                </c:pt>
                <c:pt idx="4">
                  <c:v>Abbigliamento</c:v>
                </c:pt>
                <c:pt idx="5">
                  <c:v>Servizi Professionali</c:v>
                </c:pt>
                <c:pt idx="6">
                  <c:v>Finanza/Assicurazioni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Locale</c:v>
                </c:pt>
                <c:pt idx="11">
                  <c:v>Farmaceutici/Sanitari</c:v>
                </c:pt>
                <c:pt idx="12">
                  <c:v>Turismo/Viaggi</c:v>
                </c:pt>
                <c:pt idx="13">
                  <c:v>Tempo libero</c:v>
                </c:pt>
                <c:pt idx="14">
                  <c:v>Informatica/Fotografia</c:v>
                </c:pt>
                <c:pt idx="15">
                  <c:v>Enti/Istituzioni</c:v>
                </c:pt>
                <c:pt idx="16">
                  <c:v>Industria/Edilizia/Attività</c:v>
                </c:pt>
                <c:pt idx="17">
                  <c:v>Abitazione</c:v>
                </c:pt>
                <c:pt idx="18">
                  <c:v>Bevande/Alcoolici</c:v>
                </c:pt>
                <c:pt idx="19">
                  <c:v>Oggetti personali</c:v>
                </c:pt>
                <c:pt idx="20">
                  <c:v>Gestione casa</c:v>
                </c:pt>
                <c:pt idx="21">
                  <c:v>Toiletries</c:v>
                </c:pt>
                <c:pt idx="22">
                  <c:v>Elettrodomestici</c:v>
                </c:pt>
                <c:pt idx="23">
                  <c:v>Moto/Veicoli</c:v>
                </c:pt>
                <c:pt idx="24">
                  <c:v>Di Servizio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G$3:$G$29</c:f>
              <c:numCache>
                <c:formatCode>0%</c:formatCode>
                <c:ptCount val="27"/>
                <c:pt idx="0">
                  <c:v>0.1977139417520134</c:v>
                </c:pt>
                <c:pt idx="1">
                  <c:v>0.10527527955238875</c:v>
                </c:pt>
                <c:pt idx="2">
                  <c:v>8.6778373758710975E-2</c:v>
                </c:pt>
                <c:pt idx="3">
                  <c:v>6.4377677969049196E-2</c:v>
                </c:pt>
                <c:pt idx="4">
                  <c:v>5.1824392497534885E-2</c:v>
                </c:pt>
                <c:pt idx="5">
                  <c:v>5.9528215066251541E-2</c:v>
                </c:pt>
                <c:pt idx="6">
                  <c:v>4.5734227303967617E-2</c:v>
                </c:pt>
                <c:pt idx="7">
                  <c:v>4.9410958528508651E-2</c:v>
                </c:pt>
                <c:pt idx="8">
                  <c:v>4.8025093755886067E-2</c:v>
                </c:pt>
                <c:pt idx="9">
                  <c:v>3.6086085890406426E-2</c:v>
                </c:pt>
                <c:pt idx="10">
                  <c:v>2.4491785087178787E-2</c:v>
                </c:pt>
                <c:pt idx="11">
                  <c:v>2.7017722476720477E-2</c:v>
                </c:pt>
                <c:pt idx="12">
                  <c:v>2.5555437959669365E-2</c:v>
                </c:pt>
                <c:pt idx="13">
                  <c:v>2.6859909833545872E-2</c:v>
                </c:pt>
                <c:pt idx="14">
                  <c:v>2.0454443123163614E-2</c:v>
                </c:pt>
                <c:pt idx="15">
                  <c:v>1.7735704867050422E-2</c:v>
                </c:pt>
                <c:pt idx="16">
                  <c:v>2.0529381496883353E-2</c:v>
                </c:pt>
                <c:pt idx="17">
                  <c:v>1.6922368597348483E-2</c:v>
                </c:pt>
                <c:pt idx="18">
                  <c:v>1.5285931550726141E-2</c:v>
                </c:pt>
                <c:pt idx="19">
                  <c:v>1.115109195888259E-2</c:v>
                </c:pt>
                <c:pt idx="20">
                  <c:v>9.5659139647404981E-3</c:v>
                </c:pt>
                <c:pt idx="21">
                  <c:v>1.0694650539949467E-2</c:v>
                </c:pt>
                <c:pt idx="22">
                  <c:v>1.2838097867646545E-2</c:v>
                </c:pt>
                <c:pt idx="23">
                  <c:v>4.9871335508325015E-3</c:v>
                </c:pt>
                <c:pt idx="24">
                  <c:v>6.4890738870548815E-3</c:v>
                </c:pt>
                <c:pt idx="25">
                  <c:v>4.5629615387102716E-3</c:v>
                </c:pt>
                <c:pt idx="26">
                  <c:v>1.041456251790365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1815192"/>
        <c:axId val="401815584"/>
      </c:lineChart>
      <c:catAx>
        <c:axId val="401815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401815584"/>
        <c:crosses val="autoZero"/>
        <c:auto val="1"/>
        <c:lblAlgn val="ctr"/>
        <c:lblOffset val="100"/>
        <c:noMultiLvlLbl val="0"/>
      </c:catAx>
      <c:valAx>
        <c:axId val="401815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40181519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508</cdr:x>
      <cdr:y>0</cdr:y>
    </cdr:from>
    <cdr:to>
      <cdr:x>0.64216</cdr:x>
      <cdr:y>0.93368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48782" y="0"/>
          <a:ext cx="951499" cy="375838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5781</cdr:x>
      <cdr:y>0</cdr:y>
    </cdr:from>
    <cdr:to>
      <cdr:x>0.61373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14027" y="0"/>
          <a:ext cx="720000" cy="370954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1/05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1/05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696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APRILE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2 maggio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7974"/>
            <a:ext cx="12192000" cy="350821"/>
          </a:xfrm>
        </p:spPr>
        <p:txBody>
          <a:bodyPr/>
          <a:lstStyle/>
          <a:p>
            <a:r>
              <a:rPr lang="it-IT" sz="1150" i="1" dirty="0" smtClean="0"/>
              <a:t>PESO % SUL TOTALE DEGLI INVESTIMENTI NETTI nel mese di APRILE 2018 PER SETTORE MERCEOLOGICO e delta % sull’anno precedente </a:t>
            </a:r>
            <a:endParaRPr lang="it-IT" sz="115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314230"/>
              </p:ext>
            </p:extLst>
          </p:nvPr>
        </p:nvGraphicFramePr>
        <p:xfrm>
          <a:off x="3420111" y="352372"/>
          <a:ext cx="5351779" cy="59150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2952069"/>
                <a:gridCol w="185035"/>
                <a:gridCol w="1086727"/>
                <a:gridCol w="1127948"/>
              </a:tblGrid>
              <a:tr h="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ore merceologic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utomobi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ari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edia/Editori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6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inanza/Assicura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bigliament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Servizi Professi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stribuzion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ra person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urismo/Viagg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lecomunica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Local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mpo liber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itazion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armaceutici/Sanitar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dustria/Edilizia/Attivit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nti/Istitu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formatica/Fotografi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Bevande/Alcool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lettrodomest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iletries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estione cas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ggetti pers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oto/Veico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iochi/Articoli scolast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 Servizi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ubricat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0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613468" y="6578244"/>
            <a:ext cx="11441372" cy="2769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r>
              <a:rPr lang="it-IT" sz="900" i="1" dirty="0" smtClean="0">
                <a:latin typeface="Arial Black" panose="020B0A04020102020204" pitchFamily="34" charset="0"/>
              </a:rPr>
              <a:t>N.B Nella tavola sono indicati i pesi % di ciascun settore merceologico e non il totale investimenti in quanto una delle Aziende Dichiaranti non è in grado di fornire il dettaglio di tale dato. Segnaliamo che il dato può ritenersi rappresentativo. 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582989" y="6293740"/>
            <a:ext cx="10496492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srgbClr val="FF0000"/>
                </a:solidFill>
                <a:latin typeface="Arial Black" panose="020B0A04020102020204" pitchFamily="34" charset="0"/>
              </a:rPr>
              <a:t>*</a:t>
            </a:r>
            <a:r>
              <a:rPr lang="it-IT" sz="900" i="1" dirty="0">
                <a:latin typeface="Arial Black" panose="020B0A04020102020204" pitchFamily="34" charset="0"/>
              </a:rPr>
              <a:t> La </a:t>
            </a:r>
            <a:r>
              <a:rPr lang="it-IT" sz="900" i="1" dirty="0" err="1">
                <a:latin typeface="Arial Black" panose="020B0A04020102020204" pitchFamily="34" charset="0"/>
              </a:rPr>
              <a:t>Diff</a:t>
            </a:r>
            <a:r>
              <a:rPr lang="it-IT" sz="900" i="1" dirty="0">
                <a:latin typeface="Arial Black" panose="020B0A04020102020204" pitchFamily="34" charset="0"/>
              </a:rPr>
              <a:t> % è calcolata sugli investimenti netti espressi in migliaia di euro: (Investimenti Netti 2018 – Investimenti netti 2017)/ Investimenti Netti 2017.</a:t>
            </a:r>
          </a:p>
        </p:txBody>
      </p:sp>
    </p:spTree>
    <p:extLst>
      <p:ext uri="{BB962C8B-B14F-4D97-AF65-F5344CB8AC3E}">
        <p14:creationId xmlns:p14="http://schemas.microsoft.com/office/powerpoint/2010/main" val="3678035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7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355227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d aprile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2120407"/>
              </p:ext>
            </p:extLst>
          </p:nvPr>
        </p:nvGraphicFramePr>
        <p:xfrm>
          <a:off x="466725" y="742708"/>
          <a:ext cx="11258550" cy="5524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Graphic spid="7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764730"/>
              </p:ext>
            </p:extLst>
          </p:nvPr>
        </p:nvGraphicFramePr>
        <p:xfrm>
          <a:off x="1404038" y="255036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145524">
                <a:tc gridSpan="2">
                  <a:txBody>
                    <a:bodyPr/>
                    <a:lstStyle/>
                    <a:p>
                      <a:pPr algn="l" rtl="0" fontAlgn="ctr"/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12864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it-IT" sz="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</a:t>
                      </a:r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Sottotitolo 3"/>
          <p:cNvSpPr txBox="1">
            <a:spLocks/>
          </p:cNvSpPr>
          <p:nvPr/>
        </p:nvSpPr>
        <p:spPr>
          <a:xfrm>
            <a:off x="428064" y="-79222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217104"/>
              </p:ext>
            </p:extLst>
          </p:nvPr>
        </p:nvGraphicFramePr>
        <p:xfrm>
          <a:off x="1404038" y="268483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220570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16898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12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79222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807269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APRILE 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Nessuno</a:t>
                      </a:r>
                      <a:endParaRPr lang="de-DE" sz="1800" b="0" i="0" dirty="0" smtClean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615603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APRILE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58845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671443"/>
              </p:ext>
            </p:extLst>
          </p:nvPr>
        </p:nvGraphicFramePr>
        <p:xfrm>
          <a:off x="300790" y="832574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/>
                <a:gridCol w="1083892"/>
                <a:gridCol w="839383"/>
                <a:gridCol w="839383"/>
                <a:gridCol w="839383"/>
                <a:gridCol w="714047"/>
                <a:gridCol w="820588"/>
                <a:gridCol w="138820"/>
                <a:gridCol w="958368"/>
                <a:gridCol w="830603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9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4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3.8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8562475" y="845416"/>
            <a:ext cx="3438514" cy="264954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TOP/TABLET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Rappresenta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circa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il 74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% degli investimenti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pubblicitari totali. Tale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percentuale è in calo rispetto allo scorso anno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(aprile 2017 pari a circa l’80%)</a:t>
            </a:r>
          </a:p>
          <a:p>
            <a:pPr algn="just"/>
            <a:endParaRPr lang="it-IT" sz="500" dirty="0" smtClean="0"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</a:rPr>
              <a:t>Il 99</a:t>
            </a:r>
            <a:r>
              <a:rPr lang="it-IT" sz="1300" b="1" dirty="0" smtClean="0">
                <a:latin typeface="+mj-lt"/>
              </a:rPr>
              <a:t>%</a:t>
            </a:r>
            <a:r>
              <a:rPr lang="it-IT" sz="1300" dirty="0" smtClean="0">
                <a:latin typeface="+mj-lt"/>
              </a:rPr>
              <a:t> </a:t>
            </a:r>
            <a:r>
              <a:rPr lang="it-IT" sz="1300" dirty="0" smtClean="0"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cs typeface="Arial" panose="020B0604020202020204" pitchFamily="34" charset="0"/>
              </a:rPr>
              <a:t>Browsing</a:t>
            </a:r>
            <a:endParaRPr lang="it-IT" sz="1300" b="1" dirty="0" smtClean="0"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Banner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 vale </a:t>
            </a:r>
            <a:r>
              <a:rPr lang="it-IT" sz="1300" dirty="0">
                <a:latin typeface="+mj-lt"/>
                <a:cs typeface="Arial" panose="020B0604020202020204" pitchFamily="34" charset="0"/>
              </a:rPr>
              <a:t>circa il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61% </a:t>
            </a:r>
            <a:r>
              <a:rPr lang="it-IT" sz="1300" dirty="0">
                <a:latin typeface="+mj-lt"/>
                <a:cs typeface="Arial" panose="020B0604020202020204" pitchFamily="34" charset="0"/>
              </a:rPr>
              <a:t>del totale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Desktop/Tablet, seguito dal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Video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 che vale il 22%. Il Banner risulta in crescita a discapito del Video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8562475" y="3610084"/>
            <a:ext cx="3438514" cy="2664933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PHONE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Cresce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la </a:t>
            </a:r>
            <a:r>
              <a:rPr lang="it-IT" sz="1300" dirty="0">
                <a:latin typeface="+mj-lt"/>
                <a:cs typeface="Arial" panose="020B0604020202020204" pitchFamily="34" charset="0"/>
              </a:rPr>
              <a:t>quota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dell’erogato su </a:t>
            </a:r>
            <a:r>
              <a:rPr lang="it-IT" sz="1300" b="1" dirty="0">
                <a:latin typeface="+mj-lt"/>
                <a:cs typeface="Arial" panose="020B0604020202020204" pitchFamily="34" charset="0"/>
              </a:rPr>
              <a:t>Smartphone</a:t>
            </a:r>
            <a:r>
              <a:rPr lang="it-IT" sz="1300" dirty="0"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(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26%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ad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aprile 2018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verso il 20% ad aprile 2017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La quota di </a:t>
            </a:r>
            <a:r>
              <a:rPr lang="it-IT" sz="1300" b="1" dirty="0" err="1" smtClean="0">
                <a:latin typeface="+mj-lt"/>
                <a:cs typeface="Arial" panose="020B0604020202020204" pitchFamily="34" charset="0"/>
              </a:rPr>
              <a:t>App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 è pari al 15% del totale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, e risulta in crescita rispetto ad Aprile 2017 (pari al 12%)</a:t>
            </a:r>
            <a:endParaRPr lang="it-IT" sz="500" dirty="0"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Le tipologie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Banner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e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 Video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pesano rispettivamente il 62% e il 22%, entrambe in calo rispetto ad aprile 2017 (rispettivamente pari al 63% e al 24%)</a:t>
            </a: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123476"/>
              </p:ext>
            </p:extLst>
          </p:nvPr>
        </p:nvGraphicFramePr>
        <p:xfrm>
          <a:off x="519747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0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7.9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98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3.8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9" name="Rettangolo 8"/>
          <p:cNvSpPr/>
          <p:nvPr/>
        </p:nvSpPr>
        <p:spPr>
          <a:xfrm>
            <a:off x="7920795" y="760952"/>
            <a:ext cx="3438514" cy="264954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WSING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cs typeface="Arial" panose="020B0604020202020204" pitchFamily="34" charset="0"/>
              </a:rPr>
              <a:t>Il 76% </a:t>
            </a:r>
            <a:r>
              <a:rPr lang="it-IT" sz="1300" dirty="0" smtClean="0">
                <a:cs typeface="Arial" panose="020B0604020202020204" pitchFamily="34" charset="0"/>
              </a:rPr>
              <a:t>dell’erogato è generato da</a:t>
            </a:r>
            <a:r>
              <a:rPr lang="it-IT" sz="1300" b="1" dirty="0" smtClean="0">
                <a:cs typeface="Arial" panose="020B0604020202020204" pitchFamily="34" charset="0"/>
              </a:rPr>
              <a:t> Desktop/Tablet,</a:t>
            </a:r>
            <a:r>
              <a:rPr lang="it-IT" sz="1300" dirty="0" smtClean="0">
                <a:cs typeface="Arial" panose="020B0604020202020204" pitchFamily="34" charset="0"/>
              </a:rPr>
              <a:t> in calo rispetto ad aprile 2017 (82%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61%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Banner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(ad aprile 2017 valeva circa il 59%)</a:t>
            </a:r>
          </a:p>
          <a:p>
            <a:pPr algn="just"/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cs typeface="Arial" panose="020B0604020202020204" pitchFamily="34" charset="0"/>
              </a:rPr>
              <a:t>Anche la tipologia </a:t>
            </a:r>
            <a:r>
              <a:rPr lang="it-IT" sz="1300" b="1" dirty="0" smtClean="0">
                <a:cs typeface="Arial" panose="020B0604020202020204" pitchFamily="34" charset="0"/>
              </a:rPr>
              <a:t>Video (pari al 21%) risulta </a:t>
            </a:r>
            <a:r>
              <a:rPr lang="it-IT" sz="1300" b="1" dirty="0">
                <a:cs typeface="Arial" panose="020B0604020202020204" pitchFamily="34" charset="0"/>
              </a:rPr>
              <a:t>in </a:t>
            </a:r>
            <a:r>
              <a:rPr lang="it-IT" sz="1300" b="1" dirty="0" smtClean="0">
                <a:cs typeface="Arial" panose="020B0604020202020204" pitchFamily="34" charset="0"/>
              </a:rPr>
              <a:t>calo </a:t>
            </a:r>
            <a:r>
              <a:rPr lang="it-IT" sz="1300" dirty="0" smtClean="0">
                <a:cs typeface="Arial" panose="020B0604020202020204" pitchFamily="34" charset="0"/>
              </a:rPr>
              <a:t>rispetto allo stesso mese dell’anno scorso (24%)</a:t>
            </a:r>
            <a:endParaRPr lang="it-IT" sz="1300" dirty="0">
              <a:cs typeface="Arial" panose="020B0604020202020204" pitchFamily="34" charset="0"/>
            </a:endParaRPr>
          </a:p>
          <a:p>
            <a:pPr algn="just"/>
            <a:endParaRPr lang="it-IT" sz="13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920795" y="3617004"/>
            <a:ext cx="3438514" cy="1972436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b="1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cs typeface="Arial" panose="020B0604020202020204" pitchFamily="34" charset="0"/>
              </a:rPr>
              <a:t>L’87% </a:t>
            </a:r>
            <a:r>
              <a:rPr lang="it-IT" sz="1300" dirty="0" smtClean="0">
                <a:cs typeface="Arial" panose="020B0604020202020204" pitchFamily="34" charset="0"/>
              </a:rPr>
              <a:t>dell’erogato è generato da </a:t>
            </a:r>
            <a:r>
              <a:rPr lang="it-IT" sz="1300" b="1" dirty="0" smtClean="0">
                <a:cs typeface="Arial" panose="020B0604020202020204" pitchFamily="34" charset="0"/>
              </a:rPr>
              <a:t>Smartphone</a:t>
            </a:r>
            <a:r>
              <a:rPr lang="it-IT" sz="1300" b="1" dirty="0">
                <a:cs typeface="Arial" panose="020B0604020202020204" pitchFamily="34" charset="0"/>
              </a:rPr>
              <a:t> </a:t>
            </a:r>
            <a:r>
              <a:rPr lang="it-IT" sz="1300" dirty="0" smtClean="0">
                <a:cs typeface="Arial" panose="020B0604020202020204" pitchFamily="34" charset="0"/>
              </a:rPr>
              <a:t>(aprile 2017 pari all’83%)</a:t>
            </a:r>
          </a:p>
          <a:p>
            <a:pPr algn="just"/>
            <a:endParaRPr lang="it-IT" sz="1300" dirty="0" smtClean="0"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34%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Video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e il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59% in Banner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b="1" dirty="0">
              <a:latin typeface="+mj-lt"/>
              <a:cs typeface="Arial" panose="020B0604020202020204" pitchFamily="34" charset="0"/>
            </a:endParaRPr>
          </a:p>
          <a:p>
            <a:pPr algn="just"/>
            <a:endParaRPr lang="it-IT" sz="1300" dirty="0" smtClean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211580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423966"/>
              </p:ext>
            </p:extLst>
          </p:nvPr>
        </p:nvGraphicFramePr>
        <p:xfrm>
          <a:off x="336885" y="834190"/>
          <a:ext cx="8106855" cy="5530661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/>
                <a:gridCol w="938629"/>
                <a:gridCol w="942952"/>
                <a:gridCol w="821361"/>
                <a:gridCol w="821361"/>
                <a:gridCol w="821361"/>
                <a:gridCol w="768086"/>
                <a:gridCol w="137015"/>
                <a:gridCol w="930462"/>
                <a:gridCol w="898934"/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9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97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4.9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.0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9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3.8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8" name="Rettangolo 7"/>
          <p:cNvSpPr/>
          <p:nvPr/>
        </p:nvSpPr>
        <p:spPr>
          <a:xfrm>
            <a:off x="8767195" y="3698156"/>
            <a:ext cx="3173792" cy="25726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Continua l’andamento positivo del Canale di vendita Performance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(che vale il 7% del totale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b="1" dirty="0"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cs typeface="Arial" panose="020B0604020202020204" pitchFamily="34" charset="0"/>
              </a:rPr>
              <a:t>Aumenta </a:t>
            </a:r>
            <a:r>
              <a:rPr lang="it-IT" sz="1300" dirty="0">
                <a:cs typeface="Arial" panose="020B0604020202020204" pitchFamily="34" charset="0"/>
              </a:rPr>
              <a:t>il venduto su </a:t>
            </a:r>
            <a:r>
              <a:rPr lang="it-IT" sz="1300" b="1" dirty="0">
                <a:cs typeface="Arial" panose="020B0604020202020204" pitchFamily="34" charset="0"/>
              </a:rPr>
              <a:t>Smartphone </a:t>
            </a:r>
            <a:r>
              <a:rPr lang="it-IT" sz="1300" dirty="0">
                <a:cs typeface="Arial" panose="020B0604020202020204" pitchFamily="34" charset="0"/>
              </a:rPr>
              <a:t>(</a:t>
            </a:r>
            <a:r>
              <a:rPr lang="it-IT" sz="1300" b="1" dirty="0" smtClean="0">
                <a:cs typeface="Arial" panose="020B0604020202020204" pitchFamily="34" charset="0"/>
              </a:rPr>
              <a:t>21% </a:t>
            </a:r>
            <a:r>
              <a:rPr lang="it-IT" sz="1300" b="1" dirty="0">
                <a:cs typeface="Arial" panose="020B0604020202020204" pitchFamily="34" charset="0"/>
              </a:rPr>
              <a:t>ad aprile 2018</a:t>
            </a:r>
            <a:r>
              <a:rPr lang="it-IT" sz="1300" dirty="0">
                <a:cs typeface="Arial" panose="020B0604020202020204" pitchFamily="34" charset="0"/>
              </a:rPr>
              <a:t> verso il </a:t>
            </a:r>
            <a:r>
              <a:rPr lang="it-IT" sz="1300" dirty="0" smtClean="0">
                <a:cs typeface="Arial" panose="020B0604020202020204" pitchFamily="34" charset="0"/>
              </a:rPr>
              <a:t>13% </a:t>
            </a:r>
            <a:r>
              <a:rPr lang="it-IT" sz="1300" dirty="0">
                <a:cs typeface="Arial" panose="020B0604020202020204" pitchFamily="34" charset="0"/>
              </a:rPr>
              <a:t>ad aprile 2017). Segnaliamo in particolare una crescita di </a:t>
            </a:r>
            <a:r>
              <a:rPr lang="it-IT" sz="1300" dirty="0" smtClean="0">
                <a:cs typeface="Arial" panose="020B0604020202020204" pitchFamily="34" charset="0"/>
              </a:rPr>
              <a:t>Smartphone/Direct </a:t>
            </a:r>
            <a:r>
              <a:rPr lang="it-IT" sz="1300" dirty="0" err="1" smtClean="0">
                <a:cs typeface="Arial" panose="020B0604020202020204" pitchFamily="34" charset="0"/>
              </a:rPr>
              <a:t>Mkt</a:t>
            </a: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8767194" y="861893"/>
            <a:ext cx="3173793" cy="2664933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Il 20% degli investimenti è erogato a Tempo,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in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leggera crescita rispetto all’anno scorso (19%)</a:t>
            </a:r>
          </a:p>
          <a:p>
            <a:pPr algn="just"/>
            <a:endParaRPr lang="it-IT" sz="500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latin typeface="+mj-lt"/>
                <a:cs typeface="Arial" panose="020B0604020202020204" pitchFamily="34" charset="0"/>
              </a:rPr>
              <a:t>Aumenta il venduto su 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Smartphone 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(</a:t>
            </a:r>
            <a:r>
              <a:rPr lang="it-IT" sz="1300" b="1" dirty="0" smtClean="0">
                <a:latin typeface="+mj-lt"/>
                <a:cs typeface="Arial" panose="020B0604020202020204" pitchFamily="34" charset="0"/>
              </a:rPr>
              <a:t>22% ad aprile 2018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 verso il 16% ad aprile 2017). Segnaliamo in particolare una crescita di Smartphone/Native e Smartphone /Banner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9624" y="611203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pSp>
        <p:nvGrpSpPr>
          <p:cNvPr id="11" name="Gruppo 10"/>
          <p:cNvGrpSpPr/>
          <p:nvPr/>
        </p:nvGrpSpPr>
        <p:grpSpPr>
          <a:xfrm>
            <a:off x="637716" y="1025882"/>
            <a:ext cx="10948601" cy="4881743"/>
            <a:chOff x="637716" y="1025882"/>
            <a:chExt cx="10948601" cy="4881743"/>
          </a:xfrm>
        </p:grpSpPr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70106412"/>
                </p:ext>
              </p:extLst>
            </p:nvPr>
          </p:nvGraphicFramePr>
          <p:xfrm>
            <a:off x="637716" y="1577672"/>
            <a:ext cx="5826584" cy="43299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4" name="Gruppo 13"/>
            <p:cNvGrpSpPr/>
            <p:nvPr/>
          </p:nvGrpSpPr>
          <p:grpSpPr>
            <a:xfrm>
              <a:off x="6779317" y="1025882"/>
              <a:ext cx="4807000" cy="4881743"/>
              <a:chOff x="6779317" y="1025882"/>
              <a:chExt cx="4807000" cy="4881743"/>
            </a:xfrm>
          </p:grpSpPr>
          <p:sp>
            <p:nvSpPr>
              <p:cNvPr id="15" name="Rettangolo 14"/>
              <p:cNvSpPr/>
              <p:nvPr/>
            </p:nvSpPr>
            <p:spPr>
              <a:xfrm>
                <a:off x="6906317" y="1025882"/>
                <a:ext cx="468000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7" name="Grafico 1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367303063"/>
                  </p:ext>
                </p:extLst>
              </p:nvPr>
            </p:nvGraphicFramePr>
            <p:xfrm>
              <a:off x="6779317" y="1519362"/>
              <a:ext cx="4773589" cy="40253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650319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538962"/>
              </p:ext>
            </p:extLst>
          </p:nvPr>
        </p:nvGraphicFramePr>
        <p:xfrm>
          <a:off x="173823" y="447735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/>
                <a:gridCol w="740773"/>
                <a:gridCol w="729378"/>
                <a:gridCol w="663071"/>
                <a:gridCol w="755900"/>
                <a:gridCol w="729378"/>
                <a:gridCol w="729378"/>
                <a:gridCol w="729378"/>
                <a:gridCol w="729378"/>
                <a:gridCol w="649810"/>
                <a:gridCol w="769162"/>
                <a:gridCol w="623286"/>
                <a:gridCol w="663071"/>
                <a:gridCol w="649810"/>
                <a:gridCol w="707274"/>
                <a:gridCol w="116842"/>
                <a:gridCol w="623286"/>
                <a:gridCol w="689595"/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7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6.69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3.1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6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8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.6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.8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3.8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1" name="Rettangolo 10"/>
          <p:cNvSpPr/>
          <p:nvPr/>
        </p:nvSpPr>
        <p:spPr>
          <a:xfrm>
            <a:off x="550339" y="5447006"/>
            <a:ext cx="3528000" cy="1273032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Circa il 22% degli investimenti pubblicitari è erogato su Video. L’andamento risulta negativo rispetto aprile 2017 (25%) in particolare per Desktop/Tablet fruito tramite </a:t>
            </a:r>
            <a:r>
              <a:rPr lang="it-IT" sz="1300" dirty="0" err="1" smtClean="0"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cs typeface="Arial" panose="020B0604020202020204" pitchFamily="34" charset="0"/>
              </a:rPr>
              <a:t>. </a:t>
            </a:r>
            <a:endParaRPr lang="it-IT" sz="13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7853080" y="5447006"/>
            <a:ext cx="3528000" cy="12744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E</a:t>
            </a:r>
          </a:p>
          <a:p>
            <a:pPr algn="just"/>
            <a:r>
              <a:rPr lang="it-IT" sz="1300" dirty="0" smtClean="0">
                <a:latin typeface="+mj-lt"/>
                <a:cs typeface="Arial" panose="020B0604020202020204" pitchFamily="34" charset="0"/>
              </a:rPr>
              <a:t>Rappresenta circa il 9% degli investimenti e viene dichiarato per la quasi totalità su </a:t>
            </a:r>
            <a:r>
              <a:rPr lang="it-IT" sz="1300" dirty="0" err="1" smtClean="0"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>
                <a:cs typeface="Arial" panose="020B0604020202020204" pitchFamily="34" charset="0"/>
              </a:rPr>
              <a:t>(98</a:t>
            </a:r>
            <a:r>
              <a:rPr lang="it-IT" sz="1300" dirty="0" smtClean="0">
                <a:cs typeface="Arial" panose="020B0604020202020204" pitchFamily="34" charset="0"/>
              </a:rPr>
              <a:t>%)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. </a:t>
            </a:r>
            <a:endParaRPr lang="it-IT" sz="500" dirty="0" smtClean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  <p:sp>
        <p:nvSpPr>
          <p:cNvPr id="7" name="Rettangolo 6"/>
          <p:cNvSpPr/>
          <p:nvPr/>
        </p:nvSpPr>
        <p:spPr>
          <a:xfrm>
            <a:off x="4195481" y="5450070"/>
            <a:ext cx="3528000" cy="1273032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MKT</a:t>
            </a:r>
          </a:p>
          <a:p>
            <a:pPr algn="just"/>
            <a:r>
              <a:rPr lang="it-IT" sz="1300" dirty="0" smtClean="0">
                <a:latin typeface="+mj-lt"/>
                <a:cs typeface="Arial" panose="020B0604020202020204" pitchFamily="34" charset="0"/>
              </a:rPr>
              <a:t>Cresce la quota di Direct </a:t>
            </a:r>
            <a:r>
              <a:rPr lang="it-IT" sz="1300" dirty="0" err="1" smtClean="0">
                <a:latin typeface="+mj-lt"/>
                <a:cs typeface="Arial" panose="020B0604020202020204" pitchFamily="34" charset="0"/>
              </a:rPr>
              <a:t>Mkt</a:t>
            </a:r>
            <a:r>
              <a:rPr lang="it-IT" sz="1300" dirty="0" smtClean="0">
                <a:latin typeface="+mj-lt"/>
                <a:cs typeface="Arial" panose="020B0604020202020204" pitchFamily="34" charset="0"/>
              </a:rPr>
              <a:t> (che passa dal 2% ad Aprile 2017 al 3% ad Aprile 2018).</a:t>
            </a:r>
          </a:p>
          <a:p>
            <a:pPr algn="just"/>
            <a:r>
              <a:rPr lang="it-IT" sz="1300" dirty="0" smtClean="0">
                <a:latin typeface="+mj-lt"/>
                <a:cs typeface="Arial" panose="020B0604020202020204" pitchFamily="34" charset="0"/>
              </a:rPr>
              <a:t>Circa il 60% delle Concessionarie che dichiarano tale dato presentano valori in crescita</a:t>
            </a:r>
            <a:r>
              <a:rPr lang="it-IT" sz="1300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.</a:t>
            </a:r>
            <a:endParaRPr lang="it-IT" sz="5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11" grpId="0" animBg="1"/>
      <p:bldP spid="13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737276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D APRILE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2845328"/>
              </p:ext>
            </p:extLst>
          </p:nvPr>
        </p:nvGraphicFramePr>
        <p:xfrm>
          <a:off x="657899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141936"/>
                <a:gridCol w="825102"/>
                <a:gridCol w="809823"/>
                <a:gridCol w="809823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0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0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.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.32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0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3.1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193920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703635" y="980426"/>
            <a:ext cx="10757743" cy="4881743"/>
            <a:chOff x="703635" y="980426"/>
            <a:chExt cx="10757743" cy="4881743"/>
          </a:xfrm>
        </p:grpSpPr>
        <p:graphicFrame>
          <p:nvGraphicFramePr>
            <p:cNvPr id="16" name="Grafico 1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00754579"/>
                </p:ext>
              </p:extLst>
            </p:nvPr>
          </p:nvGraphicFramePr>
          <p:xfrm>
            <a:off x="703635" y="1454055"/>
            <a:ext cx="5629930" cy="43809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2" name="Gruppo 1"/>
            <p:cNvGrpSpPr/>
            <p:nvPr/>
          </p:nvGrpSpPr>
          <p:grpSpPr>
            <a:xfrm>
              <a:off x="6333566" y="980426"/>
              <a:ext cx="5127812" cy="4881743"/>
              <a:chOff x="6333566" y="980426"/>
              <a:chExt cx="5127812" cy="4881743"/>
            </a:xfrm>
          </p:grpSpPr>
          <p:sp>
            <p:nvSpPr>
              <p:cNvPr id="18" name="Rettangolo 17"/>
              <p:cNvSpPr/>
              <p:nvPr/>
            </p:nvSpPr>
            <p:spPr>
              <a:xfrm>
                <a:off x="6535271" y="980426"/>
                <a:ext cx="4926106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1" name="Grafico 10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643204097"/>
                  </p:ext>
                </p:extLst>
              </p:nvPr>
            </p:nvGraphicFramePr>
            <p:xfrm>
              <a:off x="6333566" y="1454055"/>
              <a:ext cx="5127812" cy="427439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6031</TotalTime>
  <Words>2579</Words>
  <Application>Microsoft Office PowerPoint</Application>
  <PresentationFormat>Widescreen</PresentationFormat>
  <Paragraphs>1430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acchi Matteo</cp:lastModifiedBy>
  <cp:revision>285</cp:revision>
  <cp:lastPrinted>2018-04-20T07:23:48Z</cp:lastPrinted>
  <dcterms:created xsi:type="dcterms:W3CDTF">2017-09-15T07:09:01Z</dcterms:created>
  <dcterms:modified xsi:type="dcterms:W3CDTF">2018-05-21T13:49:36Z</dcterms:modified>
  <cp:category/>
</cp:coreProperties>
</file>